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20"/>
  </p:notesMasterIdLst>
  <p:handoutMasterIdLst>
    <p:handoutMasterId r:id="rId21"/>
  </p:handoutMasterIdLst>
  <p:sldIdLst>
    <p:sldId id="324" r:id="rId4"/>
    <p:sldId id="319" r:id="rId5"/>
    <p:sldId id="310" r:id="rId6"/>
    <p:sldId id="311" r:id="rId7"/>
    <p:sldId id="320" r:id="rId8"/>
    <p:sldId id="321" r:id="rId9"/>
    <p:sldId id="318" r:id="rId10"/>
    <p:sldId id="315" r:id="rId11"/>
    <p:sldId id="316" r:id="rId12"/>
    <p:sldId id="330" r:id="rId13"/>
    <p:sldId id="331" r:id="rId14"/>
    <p:sldId id="333" r:id="rId15"/>
    <p:sldId id="328" r:id="rId16"/>
    <p:sldId id="332" r:id="rId17"/>
    <p:sldId id="329" r:id="rId18"/>
    <p:sldId id="327" r:id="rId19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11"/>
            <p14:sldId id="320"/>
            <p14:sldId id="321"/>
            <p14:sldId id="318"/>
            <p14:sldId id="315"/>
            <p14:sldId id="316"/>
            <p14:sldId id="330"/>
            <p14:sldId id="331"/>
            <p14:sldId id="333"/>
            <p14:sldId id="328"/>
            <p14:sldId id="332"/>
            <p14:sldId id="329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B25"/>
    <a:srgbClr val="92FC95"/>
    <a:srgbClr val="5A6F90"/>
    <a:srgbClr val="A1ACD1"/>
    <a:srgbClr val="FEFE50"/>
    <a:srgbClr val="FC9728"/>
    <a:srgbClr val="576B8A"/>
    <a:srgbClr val="FDE88D"/>
    <a:srgbClr val="FFFF00"/>
    <a:srgbClr val="FFFE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5" autoAdjust="0"/>
    <p:restoredTop sz="99343" autoAdjust="0"/>
  </p:normalViewPr>
  <p:slideViewPr>
    <p:cSldViewPr snapToGrid="0" snapToObjects="1">
      <p:cViewPr varScale="1">
        <p:scale>
          <a:sx n="71" d="100"/>
          <a:sy n="71" d="100"/>
        </p:scale>
        <p:origin x="594" y="5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7\12_Dicembre\Elaborazioni%20Dicembre%202017\Grafico%20Spaccatura%20Video%20Dicembre%202017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7\12_Dicembre\Grafici%20storic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7\12_Dicembre\Grafici%20storic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fico!$C$1</c:f>
              <c:strCache>
                <c:ptCount val="1"/>
                <c:pt idx="0">
                  <c:v>Video ADV  
Podcasting video/Video Banner  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cat>
            <c:strRef>
              <c:f>Grafico!$A$2:$A$26</c:f>
              <c:strCache>
                <c:ptCount val="25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-</c:v>
                </c:pt>
                <c:pt idx="13">
                  <c:v>gen</c:v>
                </c:pt>
                <c:pt idx="14">
                  <c:v>feb</c:v>
                </c:pt>
                <c:pt idx="15">
                  <c:v>mar</c:v>
                </c:pt>
                <c:pt idx="16">
                  <c:v>apr</c:v>
                </c:pt>
                <c:pt idx="17">
                  <c:v>mag</c:v>
                </c:pt>
                <c:pt idx="18">
                  <c:v>giu</c:v>
                </c:pt>
                <c:pt idx="19">
                  <c:v>lug</c:v>
                </c:pt>
                <c:pt idx="20">
                  <c:v>ago</c:v>
                </c:pt>
                <c:pt idx="21">
                  <c:v>set</c:v>
                </c:pt>
                <c:pt idx="22">
                  <c:v>ott</c:v>
                </c:pt>
                <c:pt idx="23">
                  <c:v>nov</c:v>
                </c:pt>
                <c:pt idx="24">
                  <c:v>dic</c:v>
                </c:pt>
              </c:strCache>
            </c:strRef>
          </c:cat>
          <c:val>
            <c:numRef>
              <c:f>Grafico!$C$2:$C$26</c:f>
              <c:numCache>
                <c:formatCode>0.0%</c:formatCode>
                <c:ptCount val="25"/>
                <c:pt idx="0">
                  <c:v>0.25167413871437644</c:v>
                </c:pt>
                <c:pt idx="1">
                  <c:v>0.27441014759438237</c:v>
                </c:pt>
                <c:pt idx="2">
                  <c:v>0.27221853368423582</c:v>
                </c:pt>
                <c:pt idx="3">
                  <c:v>0.28874385235365396</c:v>
                </c:pt>
                <c:pt idx="4">
                  <c:v>0.28422289911866722</c:v>
                </c:pt>
                <c:pt idx="5">
                  <c:v>0.22492158428402173</c:v>
                </c:pt>
                <c:pt idx="6">
                  <c:v>0.26872612266665241</c:v>
                </c:pt>
                <c:pt idx="7">
                  <c:v>0.24003789272247206</c:v>
                </c:pt>
                <c:pt idx="8">
                  <c:v>0.23524064993686322</c:v>
                </c:pt>
                <c:pt idx="9">
                  <c:v>0.23506927572598554</c:v>
                </c:pt>
                <c:pt idx="10">
                  <c:v>0.21904074522047995</c:v>
                </c:pt>
                <c:pt idx="11">
                  <c:v>0.24343394025876772</c:v>
                </c:pt>
                <c:pt idx="12" formatCode="General">
                  <c:v>0</c:v>
                </c:pt>
                <c:pt idx="13">
                  <c:v>0.22286125073106858</c:v>
                </c:pt>
                <c:pt idx="14">
                  <c:v>0.2568784742599976</c:v>
                </c:pt>
                <c:pt idx="15">
                  <c:v>0.25390444431870046</c:v>
                </c:pt>
                <c:pt idx="16">
                  <c:v>0.2311515213683295</c:v>
                </c:pt>
                <c:pt idx="17">
                  <c:v>0.208436480349906</c:v>
                </c:pt>
                <c:pt idx="18">
                  <c:v>0.22296596215969897</c:v>
                </c:pt>
                <c:pt idx="19">
                  <c:v>0.19825367218409695</c:v>
                </c:pt>
                <c:pt idx="20">
                  <c:v>0.20866632193889792</c:v>
                </c:pt>
                <c:pt idx="21">
                  <c:v>0.24785746616275101</c:v>
                </c:pt>
                <c:pt idx="22">
                  <c:v>0.23161949928737041</c:v>
                </c:pt>
                <c:pt idx="23">
                  <c:v>0.21882294113524436</c:v>
                </c:pt>
                <c:pt idx="24">
                  <c:v>0.25439626275860672</c:v>
                </c:pt>
              </c:numCache>
            </c:numRef>
          </c:val>
        </c:ser>
        <c:ser>
          <c:idx val="1"/>
          <c:order val="1"/>
          <c:tx>
            <c:strRef>
              <c:f>Grafico!$B$1</c:f>
              <c:strCache>
                <c:ptCount val="1"/>
                <c:pt idx="0">
                  <c:v>Video ADV
Pre-Mid-Post Roll 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c:spPr>
          <c:invertIfNegative val="0"/>
          <c:cat>
            <c:strRef>
              <c:f>Grafico!$A$2:$A$26</c:f>
              <c:strCache>
                <c:ptCount val="25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-</c:v>
                </c:pt>
                <c:pt idx="13">
                  <c:v>gen</c:v>
                </c:pt>
                <c:pt idx="14">
                  <c:v>feb</c:v>
                </c:pt>
                <c:pt idx="15">
                  <c:v>mar</c:v>
                </c:pt>
                <c:pt idx="16">
                  <c:v>apr</c:v>
                </c:pt>
                <c:pt idx="17">
                  <c:v>mag</c:v>
                </c:pt>
                <c:pt idx="18">
                  <c:v>giu</c:v>
                </c:pt>
                <c:pt idx="19">
                  <c:v>lug</c:v>
                </c:pt>
                <c:pt idx="20">
                  <c:v>ago</c:v>
                </c:pt>
                <c:pt idx="21">
                  <c:v>set</c:v>
                </c:pt>
                <c:pt idx="22">
                  <c:v>ott</c:v>
                </c:pt>
                <c:pt idx="23">
                  <c:v>nov</c:v>
                </c:pt>
                <c:pt idx="24">
                  <c:v>dic</c:v>
                </c:pt>
              </c:strCache>
            </c:strRef>
          </c:cat>
          <c:val>
            <c:numRef>
              <c:f>Grafico!$B$2:$B$26</c:f>
              <c:numCache>
                <c:formatCode>0.0%</c:formatCode>
                <c:ptCount val="25"/>
                <c:pt idx="0">
                  <c:v>0.74832586128562362</c:v>
                </c:pt>
                <c:pt idx="1">
                  <c:v>0.7255898524056178</c:v>
                </c:pt>
                <c:pt idx="2">
                  <c:v>0.72778146631576413</c:v>
                </c:pt>
                <c:pt idx="3">
                  <c:v>0.71125614764634593</c:v>
                </c:pt>
                <c:pt idx="4">
                  <c:v>0.71577710088133273</c:v>
                </c:pt>
                <c:pt idx="5">
                  <c:v>0.77507841571597813</c:v>
                </c:pt>
                <c:pt idx="6">
                  <c:v>0.73127387733334759</c:v>
                </c:pt>
                <c:pt idx="7">
                  <c:v>0.75996210727752789</c:v>
                </c:pt>
                <c:pt idx="8">
                  <c:v>0.76475935006313678</c:v>
                </c:pt>
                <c:pt idx="9">
                  <c:v>0.76493072427401454</c:v>
                </c:pt>
                <c:pt idx="10">
                  <c:v>0.78095925477952011</c:v>
                </c:pt>
                <c:pt idx="11">
                  <c:v>0.75656605974123237</c:v>
                </c:pt>
                <c:pt idx="12" formatCode="General">
                  <c:v>0</c:v>
                </c:pt>
                <c:pt idx="13">
                  <c:v>0.77713874926893145</c:v>
                </c:pt>
                <c:pt idx="14">
                  <c:v>0.74312152574000245</c:v>
                </c:pt>
                <c:pt idx="15">
                  <c:v>0.74609555568129959</c:v>
                </c:pt>
                <c:pt idx="16">
                  <c:v>0.76884847863167061</c:v>
                </c:pt>
                <c:pt idx="17">
                  <c:v>0.79156351965009386</c:v>
                </c:pt>
                <c:pt idx="18">
                  <c:v>0.77703403784030101</c:v>
                </c:pt>
                <c:pt idx="19">
                  <c:v>0.80174632781590305</c:v>
                </c:pt>
                <c:pt idx="20">
                  <c:v>0.791333678061102</c:v>
                </c:pt>
                <c:pt idx="21">
                  <c:v>0.75214253383724905</c:v>
                </c:pt>
                <c:pt idx="22">
                  <c:v>0.76838050071262953</c:v>
                </c:pt>
                <c:pt idx="23">
                  <c:v>0.78117705886475575</c:v>
                </c:pt>
                <c:pt idx="24">
                  <c:v>0.745603737241393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40344216"/>
        <c:axId val="140344608"/>
      </c:barChart>
      <c:catAx>
        <c:axId val="140344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it-IT"/>
          </a:p>
        </c:txPr>
        <c:crossAx val="140344608"/>
        <c:crosses val="autoZero"/>
        <c:auto val="1"/>
        <c:lblAlgn val="ctr"/>
        <c:lblOffset val="100"/>
        <c:tickLblSkip val="1"/>
        <c:noMultiLvlLbl val="1"/>
      </c:catAx>
      <c:valAx>
        <c:axId val="140344608"/>
        <c:scaling>
          <c:orientation val="minMax"/>
          <c:max val="1"/>
        </c:scaling>
        <c:delete val="0"/>
        <c:axPos val="l"/>
        <c:majorGridlines/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300" b="1"/>
            </a:pPr>
            <a:endParaRPr lang="it-IT"/>
          </a:p>
        </c:txPr>
        <c:crossAx val="14034421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4630783888805535"/>
          <c:y val="0.91483931963001763"/>
          <c:w val="0.65456798113365677"/>
          <c:h val="8.4961593920203235E-2"/>
        </c:manualLayout>
      </c:layout>
      <c:overlay val="0"/>
      <c:txPr>
        <a:bodyPr/>
        <a:lstStyle/>
        <a:p>
          <a:pPr>
            <a:defRPr sz="1400"/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739130434782608E-2"/>
          <c:y val="4.9167395742198881E-2"/>
          <c:w val="0.94444444444444442"/>
          <c:h val="0.7270282881306502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6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  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Foglio1!$B$2:$B$6</c:f>
              <c:numCache>
                <c:formatCode>0%</c:formatCode>
                <c:ptCount val="5"/>
                <c:pt idx="0">
                  <c:v>0.60811231321245263</c:v>
                </c:pt>
                <c:pt idx="1">
                  <c:v>0.66177131193779193</c:v>
                </c:pt>
                <c:pt idx="2">
                  <c:v>0.71084370692268151</c:v>
                </c:pt>
                <c:pt idx="3">
                  <c:v>0.72926774888838508</c:v>
                </c:pt>
                <c:pt idx="4">
                  <c:v>0.74502706402257302</c:v>
                </c:pt>
              </c:numCache>
            </c:numRef>
          </c:val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FFCB25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 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Foglio1!$C$2:$C$6</c:f>
              <c:numCache>
                <c:formatCode>0%</c:formatCode>
                <c:ptCount val="5"/>
                <c:pt idx="0">
                  <c:v>0.24346344793706715</c:v>
                </c:pt>
                <c:pt idx="1">
                  <c:v>0.25897825694822063</c:v>
                </c:pt>
                <c:pt idx="2">
                  <c:v>0.19732231459604824</c:v>
                </c:pt>
                <c:pt idx="3">
                  <c:v>0.19058999680993075</c:v>
                </c:pt>
                <c:pt idx="4">
                  <c:v>0.19412403836692993</c:v>
                </c:pt>
              </c:numCache>
            </c:numRef>
          </c:val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 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Foglio1!$D$2:$D$6</c:f>
              <c:numCache>
                <c:formatCode>0%</c:formatCode>
                <c:ptCount val="5"/>
                <c:pt idx="0">
                  <c:v>0.1484242388504802</c:v>
                </c:pt>
                <c:pt idx="1">
                  <c:v>7.9250431113987413E-2</c:v>
                </c:pt>
                <c:pt idx="2">
                  <c:v>9.183397848127034E-2</c:v>
                </c:pt>
                <c:pt idx="3">
                  <c:v>8.0142254301684257E-2</c:v>
                </c:pt>
                <c:pt idx="4">
                  <c:v>6.084889761049693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0345392"/>
        <c:axId val="140345784"/>
      </c:barChart>
      <c:catAx>
        <c:axId val="140345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 "/>
                <a:ea typeface="+mn-ea"/>
                <a:cs typeface="+mn-cs"/>
              </a:defRPr>
            </a:pPr>
            <a:endParaRPr lang="it-IT"/>
          </a:p>
        </c:txPr>
        <c:crossAx val="140345784"/>
        <c:crosses val="autoZero"/>
        <c:auto val="1"/>
        <c:lblAlgn val="ctr"/>
        <c:lblOffset val="100"/>
        <c:noMultiLvlLbl val="0"/>
      </c:catAx>
      <c:valAx>
        <c:axId val="14034578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 "/>
                <a:ea typeface="+mn-ea"/>
                <a:cs typeface="+mn-cs"/>
              </a:defRPr>
            </a:pPr>
            <a:endParaRPr lang="it-IT"/>
          </a:p>
        </c:txPr>
        <c:crossAx val="140345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4330795227990569"/>
          <c:y val="0.9168064708624073"/>
          <c:w val="0.42792639663319104"/>
          <c:h val="5.76679996888699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2.7199620880723231E-2"/>
          <c:w val="0.93888888888888888"/>
          <c:h val="0.744366433362496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1!$J$1</c:f>
              <c:strCache>
                <c:ptCount val="1"/>
                <c:pt idx="0">
                  <c:v>Podcasting/Video Banner</c:v>
                </c:pt>
              </c:strCache>
            </c:strRef>
          </c:tx>
          <c:spPr>
            <a:solidFill>
              <a:srgbClr val="FFCB25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5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  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I$2:$I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Foglio1!$J$2:$J$6</c:f>
              <c:numCache>
                <c:formatCode>0%</c:formatCode>
                <c:ptCount val="5"/>
                <c:pt idx="0">
                  <c:v>0.50816016802309671</c:v>
                </c:pt>
                <c:pt idx="1">
                  <c:v>0.44034635244257186</c:v>
                </c:pt>
                <c:pt idx="2">
                  <c:v>0.36582646715452349</c:v>
                </c:pt>
                <c:pt idx="3">
                  <c:v>0.25233792510166964</c:v>
                </c:pt>
                <c:pt idx="4">
                  <c:v>0.22899340981840688</c:v>
                </c:pt>
              </c:numCache>
            </c:numRef>
          </c:val>
        </c:ser>
        <c:ser>
          <c:idx val="1"/>
          <c:order val="1"/>
          <c:tx>
            <c:strRef>
              <c:f>Foglio1!$K$1</c:f>
              <c:strCache>
                <c:ptCount val="1"/>
                <c:pt idx="0">
                  <c:v>Pre-Mid-Post Roll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5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7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  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I$2:$I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Foglio1!$K$2:$K$6</c:f>
              <c:numCache>
                <c:formatCode>0%</c:formatCode>
                <c:ptCount val="5"/>
                <c:pt idx="0">
                  <c:v>0.49183983197690345</c:v>
                </c:pt>
                <c:pt idx="1">
                  <c:v>0.5596536475574283</c:v>
                </c:pt>
                <c:pt idx="2">
                  <c:v>0.63417353284547651</c:v>
                </c:pt>
                <c:pt idx="3">
                  <c:v>0.74766207489833048</c:v>
                </c:pt>
                <c:pt idx="4">
                  <c:v>0.7710065901815932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0762368"/>
        <c:axId val="140762760"/>
      </c:barChart>
      <c:catAx>
        <c:axId val="140762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  "/>
                <a:ea typeface="+mn-ea"/>
                <a:cs typeface="+mn-cs"/>
              </a:defRPr>
            </a:pPr>
            <a:endParaRPr lang="it-IT"/>
          </a:p>
        </c:txPr>
        <c:crossAx val="140762760"/>
        <c:crosses val="autoZero"/>
        <c:auto val="1"/>
        <c:lblAlgn val="ctr"/>
        <c:lblOffset val="100"/>
        <c:noMultiLvlLbl val="0"/>
      </c:catAx>
      <c:valAx>
        <c:axId val="140762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  "/>
                <a:ea typeface="+mn-ea"/>
                <a:cs typeface="+mn-cs"/>
              </a:defRPr>
            </a:pPr>
            <a:endParaRPr lang="it-IT"/>
          </a:p>
        </c:txPr>
        <c:crossAx val="140762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2609858773574982"/>
          <c:y val="0.90133295459648166"/>
          <c:w val="0.57343326141706608"/>
          <c:h val="5.829824836237964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  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0251</cdr:x>
      <cdr:y>0.01602</cdr:y>
    </cdr:from>
    <cdr:to>
      <cdr:x>0.54051</cdr:x>
      <cdr:y>0.88627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5750448" y="82080"/>
          <a:ext cx="434851" cy="445878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24/01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24/01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0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8205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85016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636985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28840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398716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06731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0986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5995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21907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 smtClean="0">
                <a:solidFill>
                  <a:srgbClr val="FFFFFF"/>
                </a:solidFill>
              </a:rPr>
              <a:t>PRESENTAZIONE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DATI DICEMBRE 2017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45717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1° Febbraio 2018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044499"/>
            <a:ext cx="9138948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endParaRPr lang="it-IT" sz="44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PROPOSTE DI INSIGHT QUALITATIVI DA INSERIRE NEL REPORT</a:t>
            </a:r>
            <a:endParaRPr lang="it-IT" sz="4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219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050005"/>
              </p:ext>
            </p:extLst>
          </p:nvPr>
        </p:nvGraphicFramePr>
        <p:xfrm>
          <a:off x="896780" y="725098"/>
          <a:ext cx="10398440" cy="539999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/>
                <a:gridCol w="924961"/>
                <a:gridCol w="924961"/>
                <a:gridCol w="924961"/>
                <a:gridCol w="924961"/>
                <a:gridCol w="924961"/>
                <a:gridCol w="864991"/>
                <a:gridCol w="786848"/>
                <a:gridCol w="904252"/>
                <a:gridCol w="152980"/>
                <a:gridCol w="1056078"/>
                <a:gridCol w="915296"/>
              </a:tblGrid>
              <a:tr h="35999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BI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LETS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999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5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2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9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6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5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4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4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1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67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0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4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0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8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9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9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8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4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anno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77.4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0.4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.4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6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56.1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pSp>
        <p:nvGrpSpPr>
          <p:cNvPr id="12" name="Gruppo 11"/>
          <p:cNvGrpSpPr/>
          <p:nvPr/>
        </p:nvGrpSpPr>
        <p:grpSpPr>
          <a:xfrm>
            <a:off x="4774476" y="1817376"/>
            <a:ext cx="6621189" cy="3955728"/>
            <a:chOff x="4774476" y="1921038"/>
            <a:chExt cx="6621189" cy="3955728"/>
          </a:xfrm>
        </p:grpSpPr>
        <p:sp>
          <p:nvSpPr>
            <p:cNvPr id="5" name="Fumetto 2 4"/>
            <p:cNvSpPr/>
            <p:nvPr/>
          </p:nvSpPr>
          <p:spPr>
            <a:xfrm>
              <a:off x="5394915" y="1921038"/>
              <a:ext cx="6000750" cy="2633915"/>
            </a:xfrm>
            <a:prstGeom prst="wedgeRoundRectCallout">
              <a:avLst>
                <a:gd name="adj1" fmla="val -48259"/>
                <a:gd name="adj2" fmla="val 84581"/>
                <a:gd name="adj3" fmla="val 1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5523502" y="2206943"/>
              <a:ext cx="5771717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irca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50%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ll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cessionari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esent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itiv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er tale Device</a:t>
              </a:r>
            </a:p>
            <a:p>
              <a:endPara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n-US" sz="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 Mobile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resc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er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utt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le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ipologi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; in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articolar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ell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ipologi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Video (+116%)</a:t>
              </a:r>
              <a:endParaRPr lang="en-US" sz="4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endPara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 23%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gl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iment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Mobile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ono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endut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Video e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63%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nner</a:t>
              </a:r>
            </a:p>
          </p:txBody>
        </p:sp>
        <p:sp>
          <p:nvSpPr>
            <p:cNvPr id="3" name="Rettangolo 2"/>
            <p:cNvSpPr/>
            <p:nvPr/>
          </p:nvSpPr>
          <p:spPr>
            <a:xfrm>
              <a:off x="4774476" y="5513696"/>
              <a:ext cx="900000" cy="363070"/>
            </a:xfrm>
            <a:prstGeom prst="rect">
              <a:avLst/>
            </a:prstGeom>
            <a:noFill/>
            <a:ln w="38100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uppo 10"/>
          <p:cNvGrpSpPr/>
          <p:nvPr/>
        </p:nvGrpSpPr>
        <p:grpSpPr>
          <a:xfrm>
            <a:off x="189029" y="1871658"/>
            <a:ext cx="4585447" cy="3896461"/>
            <a:chOff x="181301" y="1957492"/>
            <a:chExt cx="4585447" cy="3896461"/>
          </a:xfrm>
        </p:grpSpPr>
        <p:sp>
          <p:nvSpPr>
            <p:cNvPr id="6" name="Fumetto 2 5"/>
            <p:cNvSpPr/>
            <p:nvPr/>
          </p:nvSpPr>
          <p:spPr>
            <a:xfrm>
              <a:off x="181301" y="1957492"/>
              <a:ext cx="4585447" cy="3005757"/>
            </a:xfrm>
            <a:prstGeom prst="wedgeRoundRectCallout">
              <a:avLst>
                <a:gd name="adj1" fmla="val 20394"/>
                <a:gd name="adj2" fmla="val 64910"/>
                <a:gd name="adj3" fmla="val 1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CasellaDiTesto 8"/>
            <p:cNvSpPr txBox="1"/>
            <p:nvPr/>
          </p:nvSpPr>
          <p:spPr>
            <a:xfrm>
              <a:off x="268612" y="2296130"/>
              <a:ext cx="4410824" cy="2292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irca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50%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ll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cessionari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esent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itiv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er tale Device</a:t>
              </a:r>
            </a:p>
            <a:p>
              <a:endPara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n-US" sz="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 Web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isult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itivo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ell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arte Video (+17,6%),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ntr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gistr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un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damento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egativo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er la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ipologi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Banner (a -4,4%)</a:t>
              </a: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n-US" sz="4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endPara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a parte Video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s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l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otal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Web circa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28%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ntr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Banner circa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58%</a:t>
              </a:r>
            </a:p>
          </p:txBody>
        </p:sp>
        <p:sp>
          <p:nvSpPr>
            <p:cNvPr id="10" name="Rettangolo 9"/>
            <p:cNvSpPr/>
            <p:nvPr/>
          </p:nvSpPr>
          <p:spPr>
            <a:xfrm>
              <a:off x="2915543" y="5490883"/>
              <a:ext cx="900000" cy="363070"/>
            </a:xfrm>
            <a:prstGeom prst="rect">
              <a:avLst/>
            </a:prstGeom>
            <a:noFill/>
            <a:ln w="38100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5926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/>
          </p:nvPr>
        </p:nvGraphicFramePr>
        <p:xfrm>
          <a:off x="732001" y="711650"/>
          <a:ext cx="10727999" cy="540000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140842"/>
                <a:gridCol w="1153164"/>
                <a:gridCol w="1294897"/>
                <a:gridCol w="1127946"/>
                <a:gridCol w="1127946"/>
                <a:gridCol w="1127946"/>
                <a:gridCol w="1054826"/>
                <a:gridCol w="188126"/>
                <a:gridCol w="1277790"/>
                <a:gridCol w="1234516"/>
              </a:tblGrid>
              <a:tr h="36002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998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0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3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1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5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0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6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8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9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5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9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70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4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39.8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8.55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7.7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56.1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pSp>
        <p:nvGrpSpPr>
          <p:cNvPr id="6" name="Gruppo 5"/>
          <p:cNvGrpSpPr/>
          <p:nvPr/>
        </p:nvGrpSpPr>
        <p:grpSpPr>
          <a:xfrm>
            <a:off x="296604" y="1871658"/>
            <a:ext cx="5566313" cy="3896461"/>
            <a:chOff x="181300" y="1957492"/>
            <a:chExt cx="5566313" cy="3896461"/>
          </a:xfrm>
        </p:grpSpPr>
        <p:sp>
          <p:nvSpPr>
            <p:cNvPr id="7" name="Fumetto 2 6"/>
            <p:cNvSpPr/>
            <p:nvPr/>
          </p:nvSpPr>
          <p:spPr>
            <a:xfrm>
              <a:off x="181300" y="1957492"/>
              <a:ext cx="5566313" cy="3005757"/>
            </a:xfrm>
            <a:prstGeom prst="wedgeRoundRectCallout">
              <a:avLst>
                <a:gd name="adj1" fmla="val 20394"/>
                <a:gd name="adj2" fmla="val 64910"/>
                <a:gd name="adj3" fmla="val 1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329217" y="2083070"/>
              <a:ext cx="5257031" cy="2693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irca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60%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ll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cessionari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esent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itiv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er tale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odalità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di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endita</a:t>
              </a:r>
              <a:endPara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just"/>
              <a:endPara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Ø"/>
              </a:pPr>
              <a:endParaRPr lang="en-US" sz="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just"/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a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odalità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di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endita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mpression è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enduta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er l’83%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b.  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articolare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54%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Banner e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25%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ideo</a:t>
              </a:r>
              <a:endParaRPr lang="en-US" sz="15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 algn="just">
                <a:buFont typeface="Wingdings" panose="05000000000000000000" pitchFamily="2" charset="2"/>
                <a:buChar char="Ø"/>
              </a:pPr>
              <a:endParaRPr lang="en-US" sz="15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just"/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l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imenti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b/Banner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isultano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n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alo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ispetto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llo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tesso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se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ll’anno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ecedent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(-3,1%),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ntre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isultano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itivi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li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vestimenti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b/Video (+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9,5%)</a:t>
              </a:r>
              <a:endParaRPr lang="en-US" sz="15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" name="Rettangolo 8"/>
            <p:cNvSpPr/>
            <p:nvPr/>
          </p:nvSpPr>
          <p:spPr>
            <a:xfrm>
              <a:off x="2915543" y="5490883"/>
              <a:ext cx="1296000" cy="363070"/>
            </a:xfrm>
            <a:prstGeom prst="rect">
              <a:avLst/>
            </a:prstGeom>
            <a:noFill/>
            <a:ln w="38100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27374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 smtClean="0"/>
              <a:t>Trend STORICO modalità di vendita</a:t>
            </a:r>
          </a:p>
        </p:txBody>
      </p:sp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2468902"/>
              </p:ext>
            </p:extLst>
          </p:nvPr>
        </p:nvGraphicFramePr>
        <p:xfrm>
          <a:off x="1357032" y="1035424"/>
          <a:ext cx="9477936" cy="49754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ttangolo 2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</a:t>
            </a:r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modalità d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vendita in ciascun anno 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49624" y="6112032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%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079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Graphic spid="10" grpId="0">
        <p:bldAsOne/>
      </p:bldGraphic>
      <p:bldP spid="3" grpId="0" build="p"/>
      <p:bldP spid="6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62860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864138"/>
              </p:ext>
            </p:extLst>
          </p:nvPr>
        </p:nvGraphicFramePr>
        <p:xfrm>
          <a:off x="137160" y="640239"/>
          <a:ext cx="11917681" cy="539999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626984"/>
                <a:gridCol w="851296"/>
                <a:gridCol w="838200"/>
                <a:gridCol w="762000"/>
                <a:gridCol w="868680"/>
                <a:gridCol w="838200"/>
                <a:gridCol w="838200"/>
                <a:gridCol w="746760"/>
                <a:gridCol w="883920"/>
                <a:gridCol w="716280"/>
                <a:gridCol w="762000"/>
                <a:gridCol w="746760"/>
                <a:gridCol w="812798"/>
                <a:gridCol w="116842"/>
                <a:gridCol w="716280"/>
                <a:gridCol w="792481"/>
              </a:tblGrid>
              <a:tr h="6294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SLETTER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MAIL/SMS/MM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4201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ff</a:t>
                      </a: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91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6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6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1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9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6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4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7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4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2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6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9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5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9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9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9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72.3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5.2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.2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9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5.1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4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7.14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56.1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grpSp>
        <p:nvGrpSpPr>
          <p:cNvPr id="2" name="Gruppo 1"/>
          <p:cNvGrpSpPr/>
          <p:nvPr/>
        </p:nvGrpSpPr>
        <p:grpSpPr>
          <a:xfrm>
            <a:off x="1144374" y="2810234"/>
            <a:ext cx="4874289" cy="3243618"/>
            <a:chOff x="1144374" y="2729552"/>
            <a:chExt cx="4874289" cy="3243618"/>
          </a:xfrm>
        </p:grpSpPr>
        <p:sp>
          <p:nvSpPr>
            <p:cNvPr id="7" name="Fumetto 2 6"/>
            <p:cNvSpPr/>
            <p:nvPr/>
          </p:nvSpPr>
          <p:spPr>
            <a:xfrm>
              <a:off x="1144374" y="2729552"/>
              <a:ext cx="4874289" cy="2276975"/>
            </a:xfrm>
            <a:prstGeom prst="wedgeRoundRectCallout">
              <a:avLst>
                <a:gd name="adj1" fmla="val 5512"/>
                <a:gd name="adj2" fmla="val 74324"/>
                <a:gd name="adj3" fmla="val 1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1376106" y="3192913"/>
              <a:ext cx="4410824" cy="11133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i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ilev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o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iù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lto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ll’anno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ia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in termini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ssoluti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he</a:t>
              </a:r>
              <a:r>
                <a:rPr 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rcentuali</a:t>
              </a:r>
              <a:endParaRPr lang="en-US" sz="15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endPara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irca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l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60%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ll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cessionarie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esenta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sitivi</a:t>
              </a:r>
              <a:r>
                <a:rPr lang="en-US" sz="1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per tale </a:t>
              </a:r>
              <a:r>
                <a:rPr lang="en-US" sz="15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ipologia</a:t>
              </a:r>
              <a:endPara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Ø"/>
              </a:pPr>
              <a:endParaRPr lang="en-US" sz="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endParaRPr lang="en-US" sz="15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" name="Rettangolo 8"/>
            <p:cNvSpPr/>
            <p:nvPr/>
          </p:nvSpPr>
          <p:spPr>
            <a:xfrm>
              <a:off x="2456597" y="5613170"/>
              <a:ext cx="1625983" cy="360000"/>
            </a:xfrm>
            <a:prstGeom prst="rect">
              <a:avLst/>
            </a:prstGeom>
            <a:noFill/>
            <a:ln w="38100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2460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/>
              <a:t>Trend </a:t>
            </a:r>
            <a:r>
              <a:rPr lang="it-IT" sz="1400" i="1" dirty="0" smtClean="0"/>
              <a:t>STORICO DEL FATTURATO VIDEO </a:t>
            </a:r>
            <a:r>
              <a:rPr lang="it-IT" sz="1400" i="1" dirty="0"/>
              <a:t>per le tipologie </a:t>
            </a:r>
            <a:r>
              <a:rPr lang="it-IT" sz="1400" i="1" dirty="0" err="1"/>
              <a:t>Podcasting</a:t>
            </a:r>
            <a:r>
              <a:rPr lang="it-IT" sz="1400" i="1" dirty="0"/>
              <a:t> video/Video Banner e </a:t>
            </a:r>
            <a:r>
              <a:rPr lang="it-IT" sz="1400" i="1" dirty="0" err="1"/>
              <a:t>Pre</a:t>
            </a:r>
            <a:r>
              <a:rPr lang="it-IT" sz="1400" i="1" dirty="0"/>
              <a:t>-</a:t>
            </a:r>
            <a:r>
              <a:rPr lang="it-IT" sz="1400" i="1" dirty="0" err="1"/>
              <a:t>Mid</a:t>
            </a:r>
            <a:r>
              <a:rPr lang="it-IT" sz="1400" i="1" dirty="0"/>
              <a:t>-Post </a:t>
            </a:r>
            <a:r>
              <a:rPr lang="it-IT" sz="1400" i="1" dirty="0" err="1" smtClean="0"/>
              <a:t>Roll</a:t>
            </a:r>
            <a:endParaRPr lang="it-IT" sz="1400" i="1" dirty="0">
              <a:solidFill>
                <a:srgbClr val="FF0000"/>
              </a:solidFill>
            </a:endParaRPr>
          </a:p>
        </p:txBody>
      </p:sp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7277548"/>
              </p:ext>
            </p:extLst>
          </p:nvPr>
        </p:nvGraphicFramePr>
        <p:xfrm>
          <a:off x="1359625" y="1113496"/>
          <a:ext cx="9063318" cy="4921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349624" y="6193920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%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796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Graphic spid="10" grpId="0">
        <p:bldAsOne/>
      </p:bldGraphic>
      <p:bldP spid="5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9851199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DICEMBRE 2017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856668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DICEMBRE</a:t>
                      </a:r>
                      <a:r>
                        <a:rPr lang="it-IT" sz="1800" b="0" i="0" baseline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 </a:t>
                      </a:r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201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0419683"/>
              </p:ext>
            </p:extLst>
          </p:nvPr>
        </p:nvGraphicFramePr>
        <p:xfrm>
          <a:off x="896780" y="725098"/>
          <a:ext cx="10398440" cy="539999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/>
                <a:gridCol w="924961"/>
                <a:gridCol w="924961"/>
                <a:gridCol w="924961"/>
                <a:gridCol w="924961"/>
                <a:gridCol w="924961"/>
                <a:gridCol w="864991"/>
                <a:gridCol w="786848"/>
                <a:gridCol w="904252"/>
                <a:gridCol w="152980"/>
                <a:gridCol w="1056078"/>
                <a:gridCol w="915296"/>
              </a:tblGrid>
              <a:tr h="35999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BI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LETS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999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5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2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9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6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5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4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4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1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67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0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4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0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8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9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9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8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4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600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77.4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0.4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.4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6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56.1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349255"/>
              </p:ext>
            </p:extLst>
          </p:nvPr>
        </p:nvGraphicFramePr>
        <p:xfrm>
          <a:off x="732001" y="711650"/>
          <a:ext cx="10727999" cy="540000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140842"/>
                <a:gridCol w="1153164"/>
                <a:gridCol w="1294897"/>
                <a:gridCol w="1127946"/>
                <a:gridCol w="1127946"/>
                <a:gridCol w="1127946"/>
                <a:gridCol w="1054826"/>
                <a:gridCol w="188126"/>
                <a:gridCol w="1277790"/>
                <a:gridCol w="1234516"/>
              </a:tblGrid>
              <a:tr h="36002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998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0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3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1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5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0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6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8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9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5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9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70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4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39.8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8.55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7.7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56.1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62860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3322828"/>
              </p:ext>
            </p:extLst>
          </p:nvPr>
        </p:nvGraphicFramePr>
        <p:xfrm>
          <a:off x="137160" y="640239"/>
          <a:ext cx="11917681" cy="539999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626984"/>
                <a:gridCol w="851296"/>
                <a:gridCol w="838200"/>
                <a:gridCol w="762000"/>
                <a:gridCol w="868680"/>
                <a:gridCol w="838200"/>
                <a:gridCol w="838200"/>
                <a:gridCol w="746760"/>
                <a:gridCol w="883920"/>
                <a:gridCol w="716280"/>
                <a:gridCol w="762000"/>
                <a:gridCol w="746760"/>
                <a:gridCol w="812798"/>
                <a:gridCol w="116842"/>
                <a:gridCol w="716280"/>
                <a:gridCol w="792481"/>
              </a:tblGrid>
              <a:tr h="6294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SLETTER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MAIL/SMS/MM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4201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ff</a:t>
                      </a: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91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6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6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1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9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6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4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4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7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4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2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6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9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5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9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9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9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0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406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72.3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5.2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.2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9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5.1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4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7.14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56.17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878839" y="155354"/>
            <a:ext cx="7968163" cy="438427"/>
          </a:xfrm>
        </p:spPr>
        <p:txBody>
          <a:bodyPr/>
          <a:lstStyle/>
          <a:p>
            <a:r>
              <a:rPr lang="it-IT" altLang="it-IT" sz="1400" i="1" dirty="0"/>
              <a:t>Fatturato VIDEO per mese </a:t>
            </a:r>
            <a:r>
              <a:rPr lang="it-IT" altLang="it-IT" sz="1400" i="1" dirty="0" smtClean="0"/>
              <a:t>A DICEMBRE 2017 </a:t>
            </a:r>
            <a:r>
              <a:rPr lang="it-IT" altLang="it-IT" sz="1400" i="1" dirty="0"/>
              <a:t>in valore assoluto e percentuale suddiviso per le tipologie </a:t>
            </a:r>
            <a:r>
              <a:rPr lang="it-IT" altLang="it-IT" sz="1400" i="1" dirty="0" err="1"/>
              <a:t>Podcasting</a:t>
            </a:r>
            <a:r>
              <a:rPr lang="it-IT" altLang="it-IT" sz="1400" i="1" dirty="0"/>
              <a:t> video/Video Banner e </a:t>
            </a:r>
            <a:r>
              <a:rPr lang="it-IT" altLang="it-IT" sz="1400" i="1" dirty="0" err="1"/>
              <a:t>Pre</a:t>
            </a:r>
            <a:r>
              <a:rPr lang="it-IT" altLang="it-IT" sz="1400" i="1" dirty="0"/>
              <a:t>-</a:t>
            </a:r>
            <a:r>
              <a:rPr lang="it-IT" altLang="it-IT" sz="1400" i="1" dirty="0" err="1"/>
              <a:t>Mid</a:t>
            </a:r>
            <a:r>
              <a:rPr lang="it-IT" altLang="it-IT" sz="1400" i="1" dirty="0"/>
              <a:t>-Post </a:t>
            </a:r>
            <a:r>
              <a:rPr lang="it-IT" altLang="it-IT" sz="1400" i="1" dirty="0" err="1"/>
              <a:t>Roll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65742"/>
              </p:ext>
            </p:extLst>
          </p:nvPr>
        </p:nvGraphicFramePr>
        <p:xfrm>
          <a:off x="914400" y="838033"/>
          <a:ext cx="10297084" cy="5399999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116310"/>
                <a:gridCol w="1137046"/>
                <a:gridCol w="1137046"/>
                <a:gridCol w="1137046"/>
                <a:gridCol w="1137046"/>
                <a:gridCol w="1137046"/>
                <a:gridCol w="1137046"/>
                <a:gridCol w="188397"/>
                <a:gridCol w="1095191"/>
                <a:gridCol w="1074910"/>
              </a:tblGrid>
              <a:tr h="2960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82325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dcasting</a:t>
                      </a:r>
                      <a:endParaRPr lang="it-IT" sz="1300" b="1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/Video Banner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  <a:p>
                      <a:pPr algn="ctr" rtl="0" fontAlgn="ctr"/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b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dcasting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/Video Banner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b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-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213049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7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4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6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4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6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1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8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8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9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8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4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3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9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128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4.4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0.8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5.29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/>
              <a:t>Trend del fatturato VIDEO per le tipologie </a:t>
            </a:r>
            <a:r>
              <a:rPr lang="it-IT" sz="1400" i="1" dirty="0" err="1"/>
              <a:t>Podcasting</a:t>
            </a:r>
            <a:r>
              <a:rPr lang="it-IT" sz="1400" i="1" dirty="0"/>
              <a:t> video/Video Banner e </a:t>
            </a:r>
            <a:r>
              <a:rPr lang="it-IT" sz="1400" i="1" dirty="0" err="1"/>
              <a:t>Pre</a:t>
            </a:r>
            <a:r>
              <a:rPr lang="it-IT" sz="1400" i="1" dirty="0"/>
              <a:t>-</a:t>
            </a:r>
            <a:r>
              <a:rPr lang="it-IT" sz="1400" i="1" dirty="0" err="1"/>
              <a:t>Mid</a:t>
            </a:r>
            <a:r>
              <a:rPr lang="it-IT" sz="1400" i="1" dirty="0"/>
              <a:t>-Post </a:t>
            </a:r>
            <a:r>
              <a:rPr lang="it-IT" sz="1400" i="1" dirty="0" err="1"/>
              <a:t>Roll</a:t>
            </a:r>
            <a:endParaRPr lang="it-IT" sz="1400" i="1" dirty="0"/>
          </a:p>
        </p:txBody>
      </p:sp>
      <p:grpSp>
        <p:nvGrpSpPr>
          <p:cNvPr id="2" name="Gruppo 1"/>
          <p:cNvGrpSpPr/>
          <p:nvPr/>
        </p:nvGrpSpPr>
        <p:grpSpPr>
          <a:xfrm>
            <a:off x="374277" y="928350"/>
            <a:ext cx="11443447" cy="5624850"/>
            <a:chOff x="364293" y="928350"/>
            <a:chExt cx="11443447" cy="5624850"/>
          </a:xfrm>
        </p:grpSpPr>
        <p:sp>
          <p:nvSpPr>
            <p:cNvPr id="13" name="Rechteck 4"/>
            <p:cNvSpPr/>
            <p:nvPr/>
          </p:nvSpPr>
          <p:spPr>
            <a:xfrm rot="5400000">
              <a:off x="3452079" y="330265"/>
              <a:ext cx="303267" cy="1529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900" dirty="0">
                <a:solidFill>
                  <a:srgbClr val="1DAC3E"/>
                </a:solidFill>
                <a:latin typeface="Arial Black"/>
                <a:cs typeface="Arial Black"/>
              </a:endParaRPr>
            </a:p>
          </p:txBody>
        </p:sp>
        <p:sp>
          <p:nvSpPr>
            <p:cNvPr id="15" name="Rechteck 4"/>
            <p:cNvSpPr/>
            <p:nvPr/>
          </p:nvSpPr>
          <p:spPr>
            <a:xfrm rot="5400000">
              <a:off x="8969636" y="330260"/>
              <a:ext cx="303267" cy="1529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900" dirty="0">
                <a:solidFill>
                  <a:srgbClr val="1DAC3E"/>
                </a:solidFill>
                <a:latin typeface="Arial Black"/>
                <a:cs typeface="Arial Black"/>
              </a:endParaRPr>
            </a:p>
          </p:txBody>
        </p:sp>
        <p:grpSp>
          <p:nvGrpSpPr>
            <p:cNvPr id="5" name="Gruppo 4"/>
            <p:cNvGrpSpPr/>
            <p:nvPr/>
          </p:nvGrpSpPr>
          <p:grpSpPr>
            <a:xfrm>
              <a:off x="2958354" y="928350"/>
              <a:ext cx="6804212" cy="324720"/>
              <a:chOff x="3382648" y="928350"/>
              <a:chExt cx="6194255" cy="324720"/>
            </a:xfrm>
          </p:grpSpPr>
          <p:sp>
            <p:nvSpPr>
              <p:cNvPr id="11" name="CasellaDiTesto 10"/>
              <p:cNvSpPr txBox="1"/>
              <p:nvPr/>
            </p:nvSpPr>
            <p:spPr bwMode="auto">
              <a:xfrm>
                <a:off x="3382648" y="928350"/>
                <a:ext cx="1123293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6</a:t>
                </a:r>
              </a:p>
            </p:txBody>
          </p:sp>
          <p:sp>
            <p:nvSpPr>
              <p:cNvPr id="12" name="CasellaDiTesto 11"/>
              <p:cNvSpPr txBox="1"/>
              <p:nvPr/>
            </p:nvSpPr>
            <p:spPr bwMode="auto">
              <a:xfrm>
                <a:off x="8476015" y="945293"/>
                <a:ext cx="1100888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7</a:t>
                </a:r>
              </a:p>
            </p:txBody>
          </p:sp>
        </p:grpSp>
        <p:graphicFrame>
          <p:nvGraphicFramePr>
            <p:cNvPr id="10" name="Grafico 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07987326"/>
                </p:ext>
              </p:extLst>
            </p:nvPr>
          </p:nvGraphicFramePr>
          <p:xfrm>
            <a:off x="364293" y="1429628"/>
            <a:ext cx="11443447" cy="51235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08041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481853" y="28354"/>
            <a:ext cx="11228294" cy="438427"/>
          </a:xfrm>
        </p:spPr>
        <p:txBody>
          <a:bodyPr/>
          <a:lstStyle/>
          <a:p>
            <a:r>
              <a:rPr lang="it-IT" sz="1400" i="1" dirty="0"/>
              <a:t>Ranking per fascia di fatturato totale (per 1.000) </a:t>
            </a:r>
            <a:r>
              <a:rPr lang="it-IT" sz="1400" i="1" dirty="0" smtClean="0"/>
              <a:t>- </a:t>
            </a:r>
            <a:r>
              <a:rPr lang="it-IT" sz="1400" i="1" dirty="0"/>
              <a:t>Crescita </a:t>
            </a:r>
            <a:r>
              <a:rPr lang="it-IT" sz="1400" i="1" dirty="0" smtClean="0"/>
              <a:t>% E PESO DEL FATTURATO MENSILE</a:t>
            </a:r>
            <a:endParaRPr lang="it-IT" sz="1400" i="1" dirty="0"/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248152"/>
              </p:ext>
            </p:extLst>
          </p:nvPr>
        </p:nvGraphicFramePr>
        <p:xfrm>
          <a:off x="858001" y="376059"/>
          <a:ext cx="10475999" cy="610886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092075"/>
                <a:gridCol w="119562"/>
                <a:gridCol w="1097425"/>
              </a:tblGrid>
              <a:tr h="34909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scia Fatturato 2</a:t>
                      </a:r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16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8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85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8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85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8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E:</a:t>
                      </a:r>
                      <a:b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000 - </a:t>
                      </a: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000</a:t>
                      </a:r>
                      <a:endParaRPr lang="it-IT" sz="8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F:</a:t>
                      </a:r>
                      <a:b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8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4.000</a:t>
                      </a:r>
                      <a:endParaRPr lang="it-IT" sz="8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85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85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7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220086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it-IT" sz="8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8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8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  <a:endParaRPr lang="it-IT" sz="85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0086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85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L FATTURATO</a:t>
                      </a:r>
                      <a:r>
                        <a:rPr lang="it-IT" sz="85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5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85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7</a:t>
                      </a:r>
                      <a:r>
                        <a:rPr lang="it-IT" sz="85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6 </a:t>
                      </a:r>
                    </a:p>
                    <a:p>
                      <a:pPr algn="ctr" fontAlgn="ctr"/>
                      <a:r>
                        <a:rPr lang="it-IT" sz="85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85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rtl="0" fontAlgn="ctr"/>
                      <a:endParaRPr lang="it-IT" sz="8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0086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85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L FATTURATO PER MESE </a:t>
                      </a:r>
                      <a:r>
                        <a:rPr lang="it-IT" sz="85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</a:t>
                      </a:r>
                    </a:p>
                    <a:p>
                      <a:pPr algn="ctr" fontAlgn="ctr"/>
                      <a:r>
                        <a:rPr lang="it-IT" sz="85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7</a:t>
                      </a:r>
                      <a:endParaRPr lang="it-IT" sz="85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rtl="0" fontAlgn="ctr"/>
                      <a:endParaRPr lang="it-IT" sz="85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9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</a:tbl>
          </a:graphicData>
        </a:graphic>
      </p:graphicFrame>
      <p:sp>
        <p:nvSpPr>
          <p:cNvPr id="9" name="CasellaDiTesto 8"/>
          <p:cNvSpPr txBox="1"/>
          <p:nvPr/>
        </p:nvSpPr>
        <p:spPr>
          <a:xfrm>
            <a:off x="1056640" y="6531912"/>
            <a:ext cx="10010140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dai fatturati netti pubblicitari 2016 e 2017 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Search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</p:spTree>
    <p:extLst>
      <p:ext uri="{BB962C8B-B14F-4D97-AF65-F5344CB8AC3E}">
        <p14:creationId xmlns:p14="http://schemas.microsoft.com/office/powerpoint/2010/main" val="4171993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/>
          <p:cNvSpPr txBox="1"/>
          <p:nvPr/>
        </p:nvSpPr>
        <p:spPr>
          <a:xfrm>
            <a:off x="1053574" y="6514673"/>
            <a:ext cx="10345946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dai fatturati netti pubblicitari 2016 e 2017 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Search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  <p:sp>
        <p:nvSpPr>
          <p:cNvPr id="5" name="Sottotitolo 3"/>
          <p:cNvSpPr txBox="1">
            <a:spLocks/>
          </p:cNvSpPr>
          <p:nvPr/>
        </p:nvSpPr>
        <p:spPr>
          <a:xfrm>
            <a:off x="481853" y="28354"/>
            <a:ext cx="11228294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fatturato totale (per 1.000) - Crescita % E PESO DEL FATTURATO PROGRESSIVO</a:t>
            </a:r>
            <a:endParaRPr lang="it-IT" sz="1400" i="1" dirty="0"/>
          </a:p>
        </p:txBody>
      </p:sp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615687"/>
              </p:ext>
            </p:extLst>
          </p:nvPr>
        </p:nvGraphicFramePr>
        <p:xfrm>
          <a:off x="858001" y="354592"/>
          <a:ext cx="10475999" cy="610886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094801"/>
                <a:gridCol w="116836"/>
                <a:gridCol w="1097425"/>
              </a:tblGrid>
              <a:tr h="34909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scia Fatturato 2</a:t>
                      </a:r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16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8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85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8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8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85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8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E:</a:t>
                      </a:r>
                      <a:b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000 - </a:t>
                      </a: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000</a:t>
                      </a:r>
                      <a:endParaRPr lang="it-IT" sz="8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F:</a:t>
                      </a:r>
                      <a:br>
                        <a:rPr lang="it-IT" sz="8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8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8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4.000</a:t>
                      </a:r>
                      <a:endParaRPr lang="it-IT" sz="8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85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85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7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220086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it-IT" sz="8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8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8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8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  <a:endParaRPr lang="it-IT" sz="85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0086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85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L FATTURATO</a:t>
                      </a:r>
                      <a:r>
                        <a:rPr lang="it-IT" sz="85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5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ESSIVO</a:t>
                      </a:r>
                      <a:r>
                        <a:rPr lang="it-IT" sz="85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17 SUL 2016 </a:t>
                      </a:r>
                    </a:p>
                    <a:p>
                      <a:pPr algn="ctr" fontAlgn="ctr"/>
                      <a:r>
                        <a:rPr lang="it-IT" sz="85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</a:p>
                    <a:p>
                      <a:pPr algn="l" rtl="0" fontAlgn="ctr"/>
                      <a:endParaRPr lang="it-IT" sz="85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5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9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4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8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85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0086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85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L FATTURATO PROGRESSIVO </a:t>
                      </a:r>
                      <a:r>
                        <a:rPr lang="it-IT" sz="85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</a:t>
                      </a:r>
                    </a:p>
                    <a:p>
                      <a:pPr algn="ctr" fontAlgn="ctr"/>
                      <a:r>
                        <a:rPr lang="it-IT" sz="85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7</a:t>
                      </a:r>
                    </a:p>
                    <a:p>
                      <a:pPr algn="l" rtl="0" fontAlgn="ctr"/>
                      <a:endParaRPr lang="it-IT" sz="85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0086">
                <a:tc vMerge="1">
                  <a:txBody>
                    <a:bodyPr/>
                    <a:lstStyle/>
                    <a:p>
                      <a:pPr algn="l" rtl="0" fontAlgn="ctr"/>
                      <a:endParaRPr lang="it-IT" sz="85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8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8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9389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1021</TotalTime>
  <Words>3348</Words>
  <Application>Microsoft Office PowerPoint</Application>
  <PresentationFormat>Widescreen</PresentationFormat>
  <Paragraphs>1758</Paragraphs>
  <Slides>16</Slides>
  <Notes>1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7" baseType="lpstr">
      <vt:lpstr>Arial</vt:lpstr>
      <vt:lpstr>Arial  </vt:lpstr>
      <vt:lpstr>Arial 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elvaggi Laura</cp:lastModifiedBy>
  <cp:revision>114</cp:revision>
  <cp:lastPrinted>2018-01-23T11:36:58Z</cp:lastPrinted>
  <dcterms:created xsi:type="dcterms:W3CDTF">2017-09-15T07:09:01Z</dcterms:created>
  <dcterms:modified xsi:type="dcterms:W3CDTF">2018-01-24T15:17:41Z</dcterms:modified>
  <cp:category/>
</cp:coreProperties>
</file>